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1"/>
  </p:notesMasterIdLst>
  <p:sldIdLst>
    <p:sldId id="256" r:id="rId2"/>
    <p:sldId id="271" r:id="rId3"/>
    <p:sldId id="270" r:id="rId4"/>
    <p:sldId id="261" r:id="rId5"/>
    <p:sldId id="268" r:id="rId6"/>
    <p:sldId id="267" r:id="rId7"/>
    <p:sldId id="266" r:id="rId8"/>
    <p:sldId id="269" r:id="rId9"/>
    <p:sldId id="262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9BD5"/>
    <a:srgbClr val="89BEE7"/>
    <a:srgbClr val="9BD8FF"/>
    <a:srgbClr val="FFFFFF"/>
    <a:srgbClr val="68AE78"/>
    <a:srgbClr val="B9B36B"/>
    <a:srgbClr val="EA9263"/>
    <a:srgbClr val="9FDDFF"/>
    <a:srgbClr val="F57D33"/>
    <a:srgbClr val="FFA9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87" d="100"/>
          <a:sy n="87" d="100"/>
        </p:scale>
        <p:origin x="-84" y="-11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A45449-74E9-4C17-B9F1-41C8AE3C3E48}" type="doc">
      <dgm:prSet loTypeId="urn:microsoft.com/office/officeart/2005/8/layout/arrow2" loCatId="process" qsTypeId="urn:microsoft.com/office/officeart/2005/8/quickstyle/simple5" qsCatId="simple" csTypeId="urn:microsoft.com/office/officeart/2005/8/colors/accent6_2" csCatId="accent6" phldr="1"/>
      <dgm:spPr/>
    </dgm:pt>
    <dgm:pt modelId="{E47B382B-F8B4-4C80-9888-D7B77AA2E745}">
      <dgm:prSet phldrT="[Text]" custT="1"/>
      <dgm:spPr/>
      <dgm:t>
        <a:bodyPr lIns="0"/>
        <a:lstStyle/>
        <a:p>
          <a:pPr algn="ctr"/>
          <a:r>
            <a:rPr lang="en-US" sz="3200" i="0" smtClean="0">
              <a:effectLst/>
              <a:latin typeface="Interstate Mono - Lgt"/>
              <a:cs typeface="Interstate Mono - Lgt"/>
            </a:rPr>
            <a:t>Past</a:t>
          </a:r>
          <a:endParaRPr lang="en-US" sz="3200" i="0" dirty="0">
            <a:effectLst/>
            <a:latin typeface="Interstate Mono - Lgt"/>
            <a:cs typeface="Interstate Mono - Lgt"/>
          </a:endParaRPr>
        </a:p>
      </dgm:t>
    </dgm:pt>
    <dgm:pt modelId="{1645FFAB-026B-4CFC-AB47-CFE3BA9992E0}" type="parTrans" cxnId="{CA50AE32-8BD8-492A-9B63-2DF60325B47F}">
      <dgm:prSet/>
      <dgm:spPr/>
      <dgm:t>
        <a:bodyPr/>
        <a:lstStyle/>
        <a:p>
          <a:endParaRPr lang="en-US">
            <a:latin typeface="Old English Text MT" panose="03040902040508030806" pitchFamily="66" charset="0"/>
          </a:endParaRPr>
        </a:p>
      </dgm:t>
    </dgm:pt>
    <dgm:pt modelId="{374459C6-2F8B-4586-9707-B709A9808BDB}" type="sibTrans" cxnId="{CA50AE32-8BD8-492A-9B63-2DF60325B47F}">
      <dgm:prSet/>
      <dgm:spPr/>
      <dgm:t>
        <a:bodyPr/>
        <a:lstStyle/>
        <a:p>
          <a:endParaRPr lang="en-US">
            <a:latin typeface="Old English Text MT" panose="03040902040508030806" pitchFamily="66" charset="0"/>
          </a:endParaRPr>
        </a:p>
      </dgm:t>
    </dgm:pt>
    <dgm:pt modelId="{D3D35D28-6280-4330-A031-C386136ADB8F}">
      <dgm:prSet phldrT="[Text]" custT="1"/>
      <dgm:spPr/>
      <dgm:t>
        <a:bodyPr lIns="0"/>
        <a:lstStyle/>
        <a:p>
          <a:pPr algn="ctr"/>
          <a:r>
            <a:rPr lang="en-US" sz="3200" b="0" i="0" cap="none" spc="0" smtClean="0">
              <a:ln w="1905"/>
              <a:effectLst/>
              <a:latin typeface="Interstate Mono - Lgt"/>
              <a:cs typeface="Interstate Mono - Lgt"/>
            </a:rPr>
            <a:t>Present</a:t>
          </a:r>
          <a:r>
            <a:rPr lang="en-US" sz="3200" b="0" i="0" smtClean="0">
              <a:effectLst/>
              <a:latin typeface="Interstate Mono - Lgt"/>
              <a:cs typeface="Interstate Mono - Lgt"/>
            </a:rPr>
            <a:t> </a:t>
          </a:r>
          <a:endParaRPr lang="en-US" sz="3200" b="0" i="0" dirty="0">
            <a:effectLst/>
            <a:latin typeface="Interstate Mono - Lgt"/>
            <a:cs typeface="Interstate Mono - Lgt"/>
          </a:endParaRPr>
        </a:p>
      </dgm:t>
    </dgm:pt>
    <dgm:pt modelId="{1EAEC71E-3E5D-485B-9703-6F357F8378EB}" type="parTrans" cxnId="{63BD078C-7C4D-4CE9-BE46-8162C499F013}">
      <dgm:prSet/>
      <dgm:spPr/>
      <dgm:t>
        <a:bodyPr/>
        <a:lstStyle/>
        <a:p>
          <a:endParaRPr lang="en-US">
            <a:latin typeface="Old English Text MT" panose="03040902040508030806" pitchFamily="66" charset="0"/>
          </a:endParaRPr>
        </a:p>
      </dgm:t>
    </dgm:pt>
    <dgm:pt modelId="{59A5213A-CE83-4F5E-9A4D-492087D24D12}" type="sibTrans" cxnId="{63BD078C-7C4D-4CE9-BE46-8162C499F013}">
      <dgm:prSet/>
      <dgm:spPr/>
      <dgm:t>
        <a:bodyPr/>
        <a:lstStyle/>
        <a:p>
          <a:endParaRPr lang="en-US">
            <a:latin typeface="Old English Text MT" panose="03040902040508030806" pitchFamily="66" charset="0"/>
          </a:endParaRPr>
        </a:p>
      </dgm:t>
    </dgm:pt>
    <dgm:pt modelId="{2DE2EC22-EF5F-4109-8836-AA8E41CFFA60}">
      <dgm:prSet phldrT="[Text]" custT="1"/>
      <dgm:spPr/>
      <dgm:t>
        <a:bodyPr lIns="0"/>
        <a:lstStyle/>
        <a:p>
          <a:pPr algn="ctr"/>
          <a:r>
            <a:rPr lang="en-US" sz="3200" b="0" i="0" cap="none" spc="0" smtClean="0">
              <a:ln w="31550" cmpd="sng">
                <a:prstDash val="solid"/>
              </a:ln>
              <a:effectLst/>
              <a:latin typeface="Interstate Mono - Lgt"/>
              <a:cs typeface="Interstate Mono - Lgt"/>
            </a:rPr>
            <a:t>Future</a:t>
          </a:r>
          <a:endParaRPr lang="en-US" sz="3200" b="0" i="0" dirty="0">
            <a:effectLst/>
            <a:latin typeface="Interstate Mono - Lgt"/>
            <a:cs typeface="Interstate Mono - Lgt"/>
          </a:endParaRPr>
        </a:p>
      </dgm:t>
    </dgm:pt>
    <dgm:pt modelId="{16C44A53-5436-47D0-B709-5709F0A2A1CA}" type="parTrans" cxnId="{28A7D176-087C-4EA5-8820-07B73AD8DD01}">
      <dgm:prSet/>
      <dgm:spPr/>
      <dgm:t>
        <a:bodyPr/>
        <a:lstStyle/>
        <a:p>
          <a:endParaRPr lang="en-US">
            <a:latin typeface="Old English Text MT" panose="03040902040508030806" pitchFamily="66" charset="0"/>
          </a:endParaRPr>
        </a:p>
      </dgm:t>
    </dgm:pt>
    <dgm:pt modelId="{8ABEACD8-EC2C-4C98-BEF4-3A9234280DA4}" type="sibTrans" cxnId="{28A7D176-087C-4EA5-8820-07B73AD8DD01}">
      <dgm:prSet/>
      <dgm:spPr/>
      <dgm:t>
        <a:bodyPr/>
        <a:lstStyle/>
        <a:p>
          <a:endParaRPr lang="en-US">
            <a:latin typeface="Old English Text MT" panose="03040902040508030806" pitchFamily="66" charset="0"/>
          </a:endParaRPr>
        </a:p>
      </dgm:t>
    </dgm:pt>
    <dgm:pt modelId="{D1C6F481-E70A-4006-81EE-B9FCF100A3BA}" type="pres">
      <dgm:prSet presAssocID="{E8A45449-74E9-4C17-B9F1-41C8AE3C3E48}" presName="arrowDiagram" presStyleCnt="0">
        <dgm:presLayoutVars>
          <dgm:chMax val="5"/>
          <dgm:dir/>
          <dgm:resizeHandles val="exact"/>
        </dgm:presLayoutVars>
      </dgm:prSet>
      <dgm:spPr/>
    </dgm:pt>
    <dgm:pt modelId="{6576EE61-DC09-4693-900C-AE9B16E80CE2}" type="pres">
      <dgm:prSet presAssocID="{E8A45449-74E9-4C17-B9F1-41C8AE3C3E48}" presName="arrow" presStyleLbl="bgShp" presStyleIdx="0" presStyleCnt="1" custScaleX="124490"/>
      <dgm:spPr>
        <a:solidFill>
          <a:schemeClr val="bg2"/>
        </a:solidFill>
        <a:ln>
          <a:noFill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</dgm:pt>
    <dgm:pt modelId="{45E2D28B-819F-4214-A5CC-72595F1182EC}" type="pres">
      <dgm:prSet presAssocID="{E8A45449-74E9-4C17-B9F1-41C8AE3C3E48}" presName="arrowDiagram3" presStyleCnt="0"/>
      <dgm:spPr/>
    </dgm:pt>
    <dgm:pt modelId="{056CF3C7-3BB8-4BE3-AB60-6EAF4A9B05C1}" type="pres">
      <dgm:prSet presAssocID="{E47B382B-F8B4-4C80-9888-D7B77AA2E745}" presName="bullet3a" presStyleLbl="node1" presStyleIdx="0" presStyleCnt="3" custLinFactX="-100000" custLinFactNeighborX="-192122" custLinFactNeighborY="-25103"/>
      <dgm:spPr>
        <a:solidFill>
          <a:schemeClr val="accent2"/>
        </a:solidFill>
      </dgm:spPr>
    </dgm:pt>
    <dgm:pt modelId="{3086FC97-D55E-4ABC-8E15-C2C9BED2811E}" type="pres">
      <dgm:prSet presAssocID="{E47B382B-F8B4-4C80-9888-D7B77AA2E745}" presName="textBox3a" presStyleLbl="revTx" presStyleIdx="0" presStyleCnt="3" custScaleX="73269" custScaleY="27821" custLinFactNeighborX="-82278" custLinFactNeighborY="11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EDBD1C-6140-4A96-A18E-AC206BDCF24A}" type="pres">
      <dgm:prSet presAssocID="{D3D35D28-6280-4330-A031-C386136ADB8F}" presName="bullet3b" presStyleLbl="node1" presStyleIdx="1" presStyleCnt="3" custScaleX="132991" custScaleY="132991" custLinFactNeighborX="-3000" custLinFactNeighborY="-12997"/>
      <dgm:spPr>
        <a:solidFill>
          <a:schemeClr val="accent4"/>
        </a:solidFill>
      </dgm:spPr>
    </dgm:pt>
    <dgm:pt modelId="{1982ED78-E136-44C9-B2E4-DA1DC52E68D6}" type="pres">
      <dgm:prSet presAssocID="{D3D35D28-6280-4330-A031-C386136ADB8F}" presName="textBox3b" presStyleLbl="revTx" presStyleIdx="1" presStyleCnt="3" custScaleX="137453" custScaleY="22451" custLinFactNeighborX="-50540" custLinFactNeighborY="-128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C09F95-DF3C-4293-8B3A-84D090125DC8}" type="pres">
      <dgm:prSet presAssocID="{2DE2EC22-EF5F-4109-8836-AA8E41CFFA60}" presName="bullet3c" presStyleLbl="node1" presStyleIdx="2" presStyleCnt="3" custScaleX="156806" custScaleY="156806" custLinFactX="64564" custLinFactNeighborX="100000" custLinFactNeighborY="-20709"/>
      <dgm:spPr>
        <a:solidFill>
          <a:schemeClr val="accent6"/>
        </a:solidFill>
      </dgm:spPr>
    </dgm:pt>
    <dgm:pt modelId="{9EC63065-6217-4615-BFB8-57ADFA1D7E39}" type="pres">
      <dgm:prSet presAssocID="{2DE2EC22-EF5F-4109-8836-AA8E41CFFA60}" presName="textBox3c" presStyleLbl="revTx" presStyleIdx="2" presStyleCnt="3" custScaleX="141332" custScaleY="13685" custLinFactNeighborX="-3156" custLinFactNeighborY="-253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A50AE32-8BD8-492A-9B63-2DF60325B47F}" srcId="{E8A45449-74E9-4C17-B9F1-41C8AE3C3E48}" destId="{E47B382B-F8B4-4C80-9888-D7B77AA2E745}" srcOrd="0" destOrd="0" parTransId="{1645FFAB-026B-4CFC-AB47-CFE3BA9992E0}" sibTransId="{374459C6-2F8B-4586-9707-B709A9808BDB}"/>
    <dgm:cxn modelId="{5C4B6B7F-DD10-4571-AB42-55BD3381B1AD}" type="presOf" srcId="{D3D35D28-6280-4330-A031-C386136ADB8F}" destId="{1982ED78-E136-44C9-B2E4-DA1DC52E68D6}" srcOrd="0" destOrd="0" presId="urn:microsoft.com/office/officeart/2005/8/layout/arrow2"/>
    <dgm:cxn modelId="{1D406302-9F0E-4F43-B18C-73DF17571249}" type="presOf" srcId="{2DE2EC22-EF5F-4109-8836-AA8E41CFFA60}" destId="{9EC63065-6217-4615-BFB8-57ADFA1D7E39}" srcOrd="0" destOrd="0" presId="urn:microsoft.com/office/officeart/2005/8/layout/arrow2"/>
    <dgm:cxn modelId="{28A7D176-087C-4EA5-8820-07B73AD8DD01}" srcId="{E8A45449-74E9-4C17-B9F1-41C8AE3C3E48}" destId="{2DE2EC22-EF5F-4109-8836-AA8E41CFFA60}" srcOrd="2" destOrd="0" parTransId="{16C44A53-5436-47D0-B709-5709F0A2A1CA}" sibTransId="{8ABEACD8-EC2C-4C98-BEF4-3A9234280DA4}"/>
    <dgm:cxn modelId="{15CA6F42-A489-409D-8D8C-0EE187EA24B3}" type="presOf" srcId="{E8A45449-74E9-4C17-B9F1-41C8AE3C3E48}" destId="{D1C6F481-E70A-4006-81EE-B9FCF100A3BA}" srcOrd="0" destOrd="0" presId="urn:microsoft.com/office/officeart/2005/8/layout/arrow2"/>
    <dgm:cxn modelId="{63BD078C-7C4D-4CE9-BE46-8162C499F013}" srcId="{E8A45449-74E9-4C17-B9F1-41C8AE3C3E48}" destId="{D3D35D28-6280-4330-A031-C386136ADB8F}" srcOrd="1" destOrd="0" parTransId="{1EAEC71E-3E5D-485B-9703-6F357F8378EB}" sibTransId="{59A5213A-CE83-4F5E-9A4D-492087D24D12}"/>
    <dgm:cxn modelId="{C95000D5-4DE8-4BB0-89BA-4D7DE47364AB}" type="presOf" srcId="{E47B382B-F8B4-4C80-9888-D7B77AA2E745}" destId="{3086FC97-D55E-4ABC-8E15-C2C9BED2811E}" srcOrd="0" destOrd="0" presId="urn:microsoft.com/office/officeart/2005/8/layout/arrow2"/>
    <dgm:cxn modelId="{074E2522-9B7B-4A15-BCAF-F3EFE2D68C4D}" type="presParOf" srcId="{D1C6F481-E70A-4006-81EE-B9FCF100A3BA}" destId="{6576EE61-DC09-4693-900C-AE9B16E80CE2}" srcOrd="0" destOrd="0" presId="urn:microsoft.com/office/officeart/2005/8/layout/arrow2"/>
    <dgm:cxn modelId="{B957606D-A5AF-4F5B-B232-CE66558B7020}" type="presParOf" srcId="{D1C6F481-E70A-4006-81EE-B9FCF100A3BA}" destId="{45E2D28B-819F-4214-A5CC-72595F1182EC}" srcOrd="1" destOrd="0" presId="urn:microsoft.com/office/officeart/2005/8/layout/arrow2"/>
    <dgm:cxn modelId="{440FCA4B-BD78-4110-BAC1-8C6B55CBC10B}" type="presParOf" srcId="{45E2D28B-819F-4214-A5CC-72595F1182EC}" destId="{056CF3C7-3BB8-4BE3-AB60-6EAF4A9B05C1}" srcOrd="0" destOrd="0" presId="urn:microsoft.com/office/officeart/2005/8/layout/arrow2"/>
    <dgm:cxn modelId="{8BD9AC22-DD95-4870-9C89-0FF396FBE506}" type="presParOf" srcId="{45E2D28B-819F-4214-A5CC-72595F1182EC}" destId="{3086FC97-D55E-4ABC-8E15-C2C9BED2811E}" srcOrd="1" destOrd="0" presId="urn:microsoft.com/office/officeart/2005/8/layout/arrow2"/>
    <dgm:cxn modelId="{E1BA8CE7-FAB0-411C-B838-117AB05C4267}" type="presParOf" srcId="{45E2D28B-819F-4214-A5CC-72595F1182EC}" destId="{DCEDBD1C-6140-4A96-A18E-AC206BDCF24A}" srcOrd="2" destOrd="0" presId="urn:microsoft.com/office/officeart/2005/8/layout/arrow2"/>
    <dgm:cxn modelId="{82335CD4-3ECB-4DB4-83C9-B36BE54AE268}" type="presParOf" srcId="{45E2D28B-819F-4214-A5CC-72595F1182EC}" destId="{1982ED78-E136-44C9-B2E4-DA1DC52E68D6}" srcOrd="3" destOrd="0" presId="urn:microsoft.com/office/officeart/2005/8/layout/arrow2"/>
    <dgm:cxn modelId="{A137A536-6042-46C1-A6F8-A77691631E91}" type="presParOf" srcId="{45E2D28B-819F-4214-A5CC-72595F1182EC}" destId="{71C09F95-DF3C-4293-8B3A-84D090125DC8}" srcOrd="4" destOrd="0" presId="urn:microsoft.com/office/officeart/2005/8/layout/arrow2"/>
    <dgm:cxn modelId="{49CCCB79-9DDD-46E4-96FF-F61C9847AAC3}" type="presParOf" srcId="{45E2D28B-819F-4214-A5CC-72595F1182EC}" destId="{9EC63065-6217-4615-BFB8-57ADFA1D7E39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9E5A05-FE3A-924D-8C05-B0E29B192E22}" type="doc">
      <dgm:prSet loTypeId="urn:microsoft.com/office/officeart/2005/8/layout/gear1" loCatId="" qsTypeId="urn:microsoft.com/office/officeart/2005/8/quickstyle/3D1" qsCatId="3D" csTypeId="urn:microsoft.com/office/officeart/2005/8/colors/accent0_1" csCatId="mainScheme" phldr="1"/>
      <dgm:spPr/>
    </dgm:pt>
    <dgm:pt modelId="{7A8D36EC-08DC-9B49-BC17-F2EC431D571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b="0" i="0" cap="none" spc="0" dirty="0" smtClean="0">
              <a:ln w="50800"/>
              <a:effectLst/>
              <a:latin typeface="+mn-lt"/>
              <a:cs typeface="Interstate Mono"/>
            </a:rPr>
            <a:t>Innovation</a:t>
          </a:r>
          <a:endParaRPr lang="en-US" sz="1400" b="0" i="0" dirty="0">
            <a:latin typeface="+mn-lt"/>
            <a:cs typeface="Interstate Mono"/>
          </a:endParaRPr>
        </a:p>
      </dgm:t>
    </dgm:pt>
    <dgm:pt modelId="{260D98F1-8C22-EC46-B1F1-59FFFF957C41}" type="parTrans" cxnId="{89208712-5089-114C-B8EA-7735D670BC69}">
      <dgm:prSet/>
      <dgm:spPr/>
      <dgm:t>
        <a:bodyPr/>
        <a:lstStyle/>
        <a:p>
          <a:endParaRPr lang="en-US" sz="1400">
            <a:latin typeface="+mn-lt"/>
          </a:endParaRPr>
        </a:p>
      </dgm:t>
    </dgm:pt>
    <dgm:pt modelId="{20924F9E-243D-804B-A590-744752C09895}" type="sibTrans" cxnId="{89208712-5089-114C-B8EA-7735D670BC69}">
      <dgm:prSet/>
      <dgm:spPr/>
      <dgm:t>
        <a:bodyPr/>
        <a:lstStyle/>
        <a:p>
          <a:endParaRPr lang="en-US" sz="1400">
            <a:latin typeface="+mn-lt"/>
          </a:endParaRPr>
        </a:p>
      </dgm:t>
    </dgm:pt>
    <dgm:pt modelId="{78AA4331-D8D0-6D4C-B73E-88964B0EC9BA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1400" b="0" i="0" cap="none" spc="0" dirty="0" smtClean="0">
              <a:ln w="50800"/>
              <a:effectLst/>
              <a:latin typeface="+mn-lt"/>
              <a:cs typeface="Interstate Mono"/>
            </a:rPr>
            <a:t>Excellence</a:t>
          </a:r>
          <a:endParaRPr lang="en-US" sz="1400" b="0" i="0" dirty="0">
            <a:latin typeface="+mn-lt"/>
            <a:cs typeface="Interstate Mono"/>
          </a:endParaRPr>
        </a:p>
      </dgm:t>
    </dgm:pt>
    <dgm:pt modelId="{09D4D3BC-B33F-8E43-90E3-EB998A87EC3B}" type="parTrans" cxnId="{FA0B7ED7-BAC6-794F-B217-B2477FC189AA}">
      <dgm:prSet/>
      <dgm:spPr/>
      <dgm:t>
        <a:bodyPr/>
        <a:lstStyle/>
        <a:p>
          <a:endParaRPr lang="en-US" sz="1400">
            <a:latin typeface="+mn-lt"/>
          </a:endParaRPr>
        </a:p>
      </dgm:t>
    </dgm:pt>
    <dgm:pt modelId="{F6B618DE-B89A-D848-ACAE-04A1B54E9328}" type="sibTrans" cxnId="{FA0B7ED7-BAC6-794F-B217-B2477FC189AA}">
      <dgm:prSet/>
      <dgm:spPr/>
      <dgm:t>
        <a:bodyPr/>
        <a:lstStyle/>
        <a:p>
          <a:endParaRPr lang="en-US" sz="1400">
            <a:latin typeface="+mn-lt"/>
          </a:endParaRPr>
        </a:p>
      </dgm:t>
    </dgm:pt>
    <dgm:pt modelId="{F84194B0-F173-3949-80E8-59F5135CE5E3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0" i="0" cap="none" spc="0" dirty="0" smtClean="0">
              <a:ln w="50800"/>
              <a:effectLst/>
              <a:latin typeface="+mn-lt"/>
              <a:cs typeface="Interstate Mono"/>
            </a:rPr>
            <a:t>Communication</a:t>
          </a:r>
          <a:endParaRPr lang="en-US" sz="1400" b="0" i="0" cap="none" spc="0" dirty="0">
            <a:ln w="18415" cmpd="sng">
              <a:prstDash val="solid"/>
            </a:ln>
            <a:effectLst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+mn-lt"/>
            <a:cs typeface="Interstate Mono"/>
          </a:endParaRPr>
        </a:p>
      </dgm:t>
    </dgm:pt>
    <dgm:pt modelId="{E0AFB2C9-B4AB-D14E-9500-AC266B902D89}" type="parTrans" cxnId="{1FD258EC-2C8D-9342-A240-86E497888228}">
      <dgm:prSet/>
      <dgm:spPr/>
      <dgm:t>
        <a:bodyPr/>
        <a:lstStyle/>
        <a:p>
          <a:endParaRPr lang="en-US" sz="1400">
            <a:latin typeface="+mn-lt"/>
          </a:endParaRPr>
        </a:p>
      </dgm:t>
    </dgm:pt>
    <dgm:pt modelId="{25724E46-695D-6147-BCC4-35D3A1FCD30A}" type="sibTrans" cxnId="{1FD258EC-2C8D-9342-A240-86E497888228}">
      <dgm:prSet/>
      <dgm:spPr/>
      <dgm:t>
        <a:bodyPr/>
        <a:lstStyle/>
        <a:p>
          <a:endParaRPr lang="en-US" sz="1400">
            <a:latin typeface="+mn-lt"/>
          </a:endParaRPr>
        </a:p>
      </dgm:t>
    </dgm:pt>
    <dgm:pt modelId="{4C1095D8-6B7B-1045-9C41-BE3C34870C41}" type="pres">
      <dgm:prSet presAssocID="{009E5A05-FE3A-924D-8C05-B0E29B192E22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0A885646-0EF1-9046-B76F-91AA1E441018}" type="pres">
      <dgm:prSet presAssocID="{7A8D36EC-08DC-9B49-BC17-F2EC431D5712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7B7616-0B18-3B4B-AD49-BD61B652CD48}" type="pres">
      <dgm:prSet presAssocID="{7A8D36EC-08DC-9B49-BC17-F2EC431D5712}" presName="gear1srcNode" presStyleLbl="node1" presStyleIdx="0" presStyleCnt="3"/>
      <dgm:spPr/>
      <dgm:t>
        <a:bodyPr/>
        <a:lstStyle/>
        <a:p>
          <a:endParaRPr lang="en-US"/>
        </a:p>
      </dgm:t>
    </dgm:pt>
    <dgm:pt modelId="{CDB51323-EBCD-4040-B495-9340D251C5F8}" type="pres">
      <dgm:prSet presAssocID="{7A8D36EC-08DC-9B49-BC17-F2EC431D5712}" presName="gear1dstNode" presStyleLbl="node1" presStyleIdx="0" presStyleCnt="3"/>
      <dgm:spPr/>
      <dgm:t>
        <a:bodyPr/>
        <a:lstStyle/>
        <a:p>
          <a:endParaRPr lang="en-US"/>
        </a:p>
      </dgm:t>
    </dgm:pt>
    <dgm:pt modelId="{849640C4-FE56-DD44-9B02-AB46EF5292D0}" type="pres">
      <dgm:prSet presAssocID="{78AA4331-D8D0-6D4C-B73E-88964B0EC9BA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CD3237-3366-C747-ADF1-FD7A97EA4757}" type="pres">
      <dgm:prSet presAssocID="{78AA4331-D8D0-6D4C-B73E-88964B0EC9BA}" presName="gear2srcNode" presStyleLbl="node1" presStyleIdx="1" presStyleCnt="3"/>
      <dgm:spPr/>
      <dgm:t>
        <a:bodyPr/>
        <a:lstStyle/>
        <a:p>
          <a:endParaRPr lang="en-US"/>
        </a:p>
      </dgm:t>
    </dgm:pt>
    <dgm:pt modelId="{3EA975E7-00E9-4F45-8058-9D3269577A1F}" type="pres">
      <dgm:prSet presAssocID="{78AA4331-D8D0-6D4C-B73E-88964B0EC9BA}" presName="gear2dstNode" presStyleLbl="node1" presStyleIdx="1" presStyleCnt="3"/>
      <dgm:spPr/>
      <dgm:t>
        <a:bodyPr/>
        <a:lstStyle/>
        <a:p>
          <a:endParaRPr lang="en-US"/>
        </a:p>
      </dgm:t>
    </dgm:pt>
    <dgm:pt modelId="{4D83E747-31E0-9B42-AFD7-321A98E4594C}" type="pres">
      <dgm:prSet presAssocID="{F84194B0-F173-3949-80E8-59F5135CE5E3}" presName="gear3" presStyleLbl="node1" presStyleIdx="2" presStyleCnt="3"/>
      <dgm:spPr/>
      <dgm:t>
        <a:bodyPr/>
        <a:lstStyle/>
        <a:p>
          <a:endParaRPr lang="en-US"/>
        </a:p>
      </dgm:t>
    </dgm:pt>
    <dgm:pt modelId="{B41AA98B-CFF1-C447-86FC-83EBB9AB08DF}" type="pres">
      <dgm:prSet presAssocID="{F84194B0-F173-3949-80E8-59F5135CE5E3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715D84-9512-D643-A01B-0B26C991C686}" type="pres">
      <dgm:prSet presAssocID="{F84194B0-F173-3949-80E8-59F5135CE5E3}" presName="gear3srcNode" presStyleLbl="node1" presStyleIdx="2" presStyleCnt="3"/>
      <dgm:spPr/>
      <dgm:t>
        <a:bodyPr/>
        <a:lstStyle/>
        <a:p>
          <a:endParaRPr lang="en-US"/>
        </a:p>
      </dgm:t>
    </dgm:pt>
    <dgm:pt modelId="{0C9EA0ED-C7F9-0D4E-8291-84F2335E87CA}" type="pres">
      <dgm:prSet presAssocID="{F84194B0-F173-3949-80E8-59F5135CE5E3}" presName="gear3dstNode" presStyleLbl="node1" presStyleIdx="2" presStyleCnt="3"/>
      <dgm:spPr/>
      <dgm:t>
        <a:bodyPr/>
        <a:lstStyle/>
        <a:p>
          <a:endParaRPr lang="en-US"/>
        </a:p>
      </dgm:t>
    </dgm:pt>
    <dgm:pt modelId="{8D118898-0C11-6B4F-8628-0C8975A66966}" type="pres">
      <dgm:prSet presAssocID="{20924F9E-243D-804B-A590-744752C09895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27A83C44-4301-CB4D-BAA4-36A5ADBAF93D}" type="pres">
      <dgm:prSet presAssocID="{F6B618DE-B89A-D848-ACAE-04A1B54E9328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B2C3A6FE-1E0F-DF43-B5B6-FE042938479C}" type="pres">
      <dgm:prSet presAssocID="{25724E46-695D-6147-BCC4-35D3A1FCD30A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EF9C9CB8-C4AD-44A4-A446-61AC1A770E7B}" type="presOf" srcId="{78AA4331-D8D0-6D4C-B73E-88964B0EC9BA}" destId="{44CD3237-3366-C747-ADF1-FD7A97EA4757}" srcOrd="1" destOrd="0" presId="urn:microsoft.com/office/officeart/2005/8/layout/gear1"/>
    <dgm:cxn modelId="{1FD258EC-2C8D-9342-A240-86E497888228}" srcId="{009E5A05-FE3A-924D-8C05-B0E29B192E22}" destId="{F84194B0-F173-3949-80E8-59F5135CE5E3}" srcOrd="2" destOrd="0" parTransId="{E0AFB2C9-B4AB-D14E-9500-AC266B902D89}" sibTransId="{25724E46-695D-6147-BCC4-35D3A1FCD30A}"/>
    <dgm:cxn modelId="{0585F78B-D224-46A8-AC77-9B02B352B5AE}" type="presOf" srcId="{25724E46-695D-6147-BCC4-35D3A1FCD30A}" destId="{B2C3A6FE-1E0F-DF43-B5B6-FE042938479C}" srcOrd="0" destOrd="0" presId="urn:microsoft.com/office/officeart/2005/8/layout/gear1"/>
    <dgm:cxn modelId="{80FF89F4-F72D-4004-A92B-76571E88CA27}" type="presOf" srcId="{78AA4331-D8D0-6D4C-B73E-88964B0EC9BA}" destId="{3EA975E7-00E9-4F45-8058-9D3269577A1F}" srcOrd="2" destOrd="0" presId="urn:microsoft.com/office/officeart/2005/8/layout/gear1"/>
    <dgm:cxn modelId="{E055AFB5-9661-4F84-A93A-DB801E258E82}" type="presOf" srcId="{F84194B0-F173-3949-80E8-59F5135CE5E3}" destId="{EF715D84-9512-D643-A01B-0B26C991C686}" srcOrd="2" destOrd="0" presId="urn:microsoft.com/office/officeart/2005/8/layout/gear1"/>
    <dgm:cxn modelId="{5B67AC9E-526E-4323-AF10-D7BF15064DC1}" type="presOf" srcId="{7A8D36EC-08DC-9B49-BC17-F2EC431D5712}" destId="{0A885646-0EF1-9046-B76F-91AA1E441018}" srcOrd="0" destOrd="0" presId="urn:microsoft.com/office/officeart/2005/8/layout/gear1"/>
    <dgm:cxn modelId="{42805B54-C3E1-493B-B6AA-1CF7B0A0F2CD}" type="presOf" srcId="{78AA4331-D8D0-6D4C-B73E-88964B0EC9BA}" destId="{849640C4-FE56-DD44-9B02-AB46EF5292D0}" srcOrd="0" destOrd="0" presId="urn:microsoft.com/office/officeart/2005/8/layout/gear1"/>
    <dgm:cxn modelId="{FF6CC9DC-85B0-4EEC-BFE1-48F16F8A613D}" type="presOf" srcId="{7A8D36EC-08DC-9B49-BC17-F2EC431D5712}" destId="{E67B7616-0B18-3B4B-AD49-BD61B652CD48}" srcOrd="1" destOrd="0" presId="urn:microsoft.com/office/officeart/2005/8/layout/gear1"/>
    <dgm:cxn modelId="{D58FF90E-BFFC-42AE-AD44-B1AC7772EBC4}" type="presOf" srcId="{F6B618DE-B89A-D848-ACAE-04A1B54E9328}" destId="{27A83C44-4301-CB4D-BAA4-36A5ADBAF93D}" srcOrd="0" destOrd="0" presId="urn:microsoft.com/office/officeart/2005/8/layout/gear1"/>
    <dgm:cxn modelId="{C11F4DDD-96F9-40CA-9E2B-BD06C20C923A}" type="presOf" srcId="{F84194B0-F173-3949-80E8-59F5135CE5E3}" destId="{4D83E747-31E0-9B42-AFD7-321A98E4594C}" srcOrd="0" destOrd="0" presId="urn:microsoft.com/office/officeart/2005/8/layout/gear1"/>
    <dgm:cxn modelId="{F01DA385-7BEA-43F0-A119-956D14C2E615}" type="presOf" srcId="{20924F9E-243D-804B-A590-744752C09895}" destId="{8D118898-0C11-6B4F-8628-0C8975A66966}" srcOrd="0" destOrd="0" presId="urn:microsoft.com/office/officeart/2005/8/layout/gear1"/>
    <dgm:cxn modelId="{89208712-5089-114C-B8EA-7735D670BC69}" srcId="{009E5A05-FE3A-924D-8C05-B0E29B192E22}" destId="{7A8D36EC-08DC-9B49-BC17-F2EC431D5712}" srcOrd="0" destOrd="0" parTransId="{260D98F1-8C22-EC46-B1F1-59FFFF957C41}" sibTransId="{20924F9E-243D-804B-A590-744752C09895}"/>
    <dgm:cxn modelId="{49304DE6-06D7-46F2-91D0-20DC20552B6A}" type="presOf" srcId="{F84194B0-F173-3949-80E8-59F5135CE5E3}" destId="{0C9EA0ED-C7F9-0D4E-8291-84F2335E87CA}" srcOrd="3" destOrd="0" presId="urn:microsoft.com/office/officeart/2005/8/layout/gear1"/>
    <dgm:cxn modelId="{FA0B7ED7-BAC6-794F-B217-B2477FC189AA}" srcId="{009E5A05-FE3A-924D-8C05-B0E29B192E22}" destId="{78AA4331-D8D0-6D4C-B73E-88964B0EC9BA}" srcOrd="1" destOrd="0" parTransId="{09D4D3BC-B33F-8E43-90E3-EB998A87EC3B}" sibTransId="{F6B618DE-B89A-D848-ACAE-04A1B54E9328}"/>
    <dgm:cxn modelId="{4625F851-1D35-438B-B5CD-B5A4CA813AD1}" type="presOf" srcId="{F84194B0-F173-3949-80E8-59F5135CE5E3}" destId="{B41AA98B-CFF1-C447-86FC-83EBB9AB08DF}" srcOrd="1" destOrd="0" presId="urn:microsoft.com/office/officeart/2005/8/layout/gear1"/>
    <dgm:cxn modelId="{0607AC3A-99EE-42C4-BC1E-8665918FACA5}" type="presOf" srcId="{009E5A05-FE3A-924D-8C05-B0E29B192E22}" destId="{4C1095D8-6B7B-1045-9C41-BE3C34870C41}" srcOrd="0" destOrd="0" presId="urn:microsoft.com/office/officeart/2005/8/layout/gear1"/>
    <dgm:cxn modelId="{A8A987F9-2BCB-45AB-8145-DE5204BA8BC5}" type="presOf" srcId="{7A8D36EC-08DC-9B49-BC17-F2EC431D5712}" destId="{CDB51323-EBCD-4040-B495-9340D251C5F8}" srcOrd="2" destOrd="0" presId="urn:microsoft.com/office/officeart/2005/8/layout/gear1"/>
    <dgm:cxn modelId="{7DE3E46F-E45A-454D-B018-FE188FA68EBC}" type="presParOf" srcId="{4C1095D8-6B7B-1045-9C41-BE3C34870C41}" destId="{0A885646-0EF1-9046-B76F-91AA1E441018}" srcOrd="0" destOrd="0" presId="urn:microsoft.com/office/officeart/2005/8/layout/gear1"/>
    <dgm:cxn modelId="{A564AF2C-ECEC-48F2-85F2-A06319F54082}" type="presParOf" srcId="{4C1095D8-6B7B-1045-9C41-BE3C34870C41}" destId="{E67B7616-0B18-3B4B-AD49-BD61B652CD48}" srcOrd="1" destOrd="0" presId="urn:microsoft.com/office/officeart/2005/8/layout/gear1"/>
    <dgm:cxn modelId="{CEDDC521-97A5-49C4-BDD7-DD5AB0FB1475}" type="presParOf" srcId="{4C1095D8-6B7B-1045-9C41-BE3C34870C41}" destId="{CDB51323-EBCD-4040-B495-9340D251C5F8}" srcOrd="2" destOrd="0" presId="urn:microsoft.com/office/officeart/2005/8/layout/gear1"/>
    <dgm:cxn modelId="{DEBC284B-6175-4E12-98A0-75CF2462BCD1}" type="presParOf" srcId="{4C1095D8-6B7B-1045-9C41-BE3C34870C41}" destId="{849640C4-FE56-DD44-9B02-AB46EF5292D0}" srcOrd="3" destOrd="0" presId="urn:microsoft.com/office/officeart/2005/8/layout/gear1"/>
    <dgm:cxn modelId="{BE481CE4-D741-4544-9AFB-80E36E0DB1A7}" type="presParOf" srcId="{4C1095D8-6B7B-1045-9C41-BE3C34870C41}" destId="{44CD3237-3366-C747-ADF1-FD7A97EA4757}" srcOrd="4" destOrd="0" presId="urn:microsoft.com/office/officeart/2005/8/layout/gear1"/>
    <dgm:cxn modelId="{CD3BA8FD-C827-4E9B-A570-A77BB6F8B8FC}" type="presParOf" srcId="{4C1095D8-6B7B-1045-9C41-BE3C34870C41}" destId="{3EA975E7-00E9-4F45-8058-9D3269577A1F}" srcOrd="5" destOrd="0" presId="urn:microsoft.com/office/officeart/2005/8/layout/gear1"/>
    <dgm:cxn modelId="{C673F5CE-967A-48D7-AA2B-8F94C4947B85}" type="presParOf" srcId="{4C1095D8-6B7B-1045-9C41-BE3C34870C41}" destId="{4D83E747-31E0-9B42-AFD7-321A98E4594C}" srcOrd="6" destOrd="0" presId="urn:microsoft.com/office/officeart/2005/8/layout/gear1"/>
    <dgm:cxn modelId="{8B6E3EFE-6B5C-408A-B67F-5459FC549DDA}" type="presParOf" srcId="{4C1095D8-6B7B-1045-9C41-BE3C34870C41}" destId="{B41AA98B-CFF1-C447-86FC-83EBB9AB08DF}" srcOrd="7" destOrd="0" presId="urn:microsoft.com/office/officeart/2005/8/layout/gear1"/>
    <dgm:cxn modelId="{29556E76-C488-4E32-8B05-D3A3093DF74B}" type="presParOf" srcId="{4C1095D8-6B7B-1045-9C41-BE3C34870C41}" destId="{EF715D84-9512-D643-A01B-0B26C991C686}" srcOrd="8" destOrd="0" presId="urn:microsoft.com/office/officeart/2005/8/layout/gear1"/>
    <dgm:cxn modelId="{DE0AA20A-2007-4DBA-A456-82E0FF3B670D}" type="presParOf" srcId="{4C1095D8-6B7B-1045-9C41-BE3C34870C41}" destId="{0C9EA0ED-C7F9-0D4E-8291-84F2335E87CA}" srcOrd="9" destOrd="0" presId="urn:microsoft.com/office/officeart/2005/8/layout/gear1"/>
    <dgm:cxn modelId="{433676A8-0939-4A7B-894E-F81A9B5D7515}" type="presParOf" srcId="{4C1095D8-6B7B-1045-9C41-BE3C34870C41}" destId="{8D118898-0C11-6B4F-8628-0C8975A66966}" srcOrd="10" destOrd="0" presId="urn:microsoft.com/office/officeart/2005/8/layout/gear1"/>
    <dgm:cxn modelId="{29F66F9A-FCCE-4044-8E2F-6D7DEEA2F42E}" type="presParOf" srcId="{4C1095D8-6B7B-1045-9C41-BE3C34870C41}" destId="{27A83C44-4301-CB4D-BAA4-36A5ADBAF93D}" srcOrd="11" destOrd="0" presId="urn:microsoft.com/office/officeart/2005/8/layout/gear1"/>
    <dgm:cxn modelId="{96463E7C-FC20-4596-85D4-9C65C176162D}" type="presParOf" srcId="{4C1095D8-6B7B-1045-9C41-BE3C34870C41}" destId="{B2C3A6FE-1E0F-DF43-B5B6-FE042938479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6EE61-DC09-4693-900C-AE9B16E80CE2}">
      <dsp:nvSpPr>
        <dsp:cNvPr id="0" name=""/>
        <dsp:cNvSpPr/>
      </dsp:nvSpPr>
      <dsp:spPr>
        <a:xfrm>
          <a:off x="192509" y="0"/>
          <a:ext cx="10793117" cy="5418667"/>
        </a:xfrm>
        <a:prstGeom prst="swooshArrow">
          <a:avLst>
            <a:gd name="adj1" fmla="val 25000"/>
            <a:gd name="adj2" fmla="val 25000"/>
          </a:avLst>
        </a:prstGeom>
        <a:solidFill>
          <a:schemeClr val="bg2"/>
        </a:solidFill>
        <a:ln>
          <a:noFill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56CF3C7-3BB8-4BE3-AB60-6EAF4A9B05C1}">
      <dsp:nvSpPr>
        <dsp:cNvPr id="0" name=""/>
        <dsp:cNvSpPr/>
      </dsp:nvSpPr>
      <dsp:spPr>
        <a:xfrm>
          <a:off x="1696716" y="3683377"/>
          <a:ext cx="225416" cy="225416"/>
        </a:xfrm>
        <a:prstGeom prst="ellipse">
          <a:avLst/>
        </a:prstGeom>
        <a:solidFill>
          <a:schemeClr val="accent2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086FC97-D55E-4ABC-8E15-C2C9BED2811E}">
      <dsp:nvSpPr>
        <dsp:cNvPr id="0" name=""/>
        <dsp:cNvSpPr/>
      </dsp:nvSpPr>
      <dsp:spPr>
        <a:xfrm>
          <a:off x="1075829" y="4435120"/>
          <a:ext cx="1480091" cy="4356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i="0" kern="1200" smtClean="0">
              <a:effectLst/>
              <a:latin typeface="Interstate Mono - Lgt"/>
              <a:cs typeface="Interstate Mono - Lgt"/>
            </a:rPr>
            <a:t>Past</a:t>
          </a:r>
          <a:endParaRPr lang="en-US" sz="3200" i="0" kern="1200" dirty="0">
            <a:effectLst/>
            <a:latin typeface="Interstate Mono - Lgt"/>
            <a:cs typeface="Interstate Mono - Lgt"/>
          </a:endParaRPr>
        </a:p>
      </dsp:txBody>
      <dsp:txXfrm>
        <a:off x="1075829" y="4435120"/>
        <a:ext cx="1480091" cy="435675"/>
      </dsp:txXfrm>
    </dsp:sp>
    <dsp:sp modelId="{DCEDBD1C-6140-4A96-A18E-AC206BDCF24A}">
      <dsp:nvSpPr>
        <dsp:cNvPr id="0" name=""/>
        <dsp:cNvSpPr/>
      </dsp:nvSpPr>
      <dsp:spPr>
        <a:xfrm>
          <a:off x="4265501" y="2146993"/>
          <a:ext cx="541916" cy="541916"/>
        </a:xfrm>
        <a:prstGeom prst="ellipse">
          <a:avLst/>
        </a:prstGeom>
        <a:solidFill>
          <a:schemeClr val="accent4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982ED78-E136-44C9-B2E4-DA1DC52E68D6}">
      <dsp:nvSpPr>
        <dsp:cNvPr id="0" name=""/>
        <dsp:cNvSpPr/>
      </dsp:nvSpPr>
      <dsp:spPr>
        <a:xfrm>
          <a:off x="3107409" y="3236429"/>
          <a:ext cx="2860078" cy="661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0" i="0" kern="1200" cap="none" spc="0" smtClean="0">
              <a:ln w="1905"/>
              <a:effectLst/>
              <a:latin typeface="Interstate Mono - Lgt"/>
              <a:cs typeface="Interstate Mono - Lgt"/>
            </a:rPr>
            <a:t>Present</a:t>
          </a:r>
          <a:r>
            <a:rPr lang="en-US" sz="3200" b="0" i="0" kern="1200" smtClean="0">
              <a:effectLst/>
              <a:latin typeface="Interstate Mono - Lgt"/>
              <a:cs typeface="Interstate Mono - Lgt"/>
            </a:rPr>
            <a:t> </a:t>
          </a:r>
          <a:endParaRPr lang="en-US" sz="3200" b="0" i="0" kern="1200" dirty="0">
            <a:effectLst/>
            <a:latin typeface="Interstate Mono - Lgt"/>
            <a:cs typeface="Interstate Mono - Lgt"/>
          </a:endParaRPr>
        </a:p>
      </dsp:txBody>
      <dsp:txXfrm>
        <a:off x="3107409" y="3236429"/>
        <a:ext cx="2860078" cy="661800"/>
      </dsp:txXfrm>
    </dsp:sp>
    <dsp:sp modelId="{71C09F95-DF3C-4293-8B3A-84D090125DC8}">
      <dsp:nvSpPr>
        <dsp:cNvPr id="0" name=""/>
        <dsp:cNvSpPr/>
      </dsp:nvSpPr>
      <dsp:spPr>
        <a:xfrm>
          <a:off x="7505149" y="1094156"/>
          <a:ext cx="883666" cy="883666"/>
        </a:xfrm>
        <a:prstGeom prst="ellipse">
          <a:avLst/>
        </a:prstGeom>
        <a:solidFill>
          <a:schemeClr val="accent6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EC63065-6217-4615-BFB8-57ADFA1D7E39}">
      <dsp:nvSpPr>
        <dsp:cNvPr id="0" name=""/>
        <dsp:cNvSpPr/>
      </dsp:nvSpPr>
      <dsp:spPr>
        <a:xfrm>
          <a:off x="6523916" y="2323356"/>
          <a:ext cx="2940791" cy="5153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0" i="0" kern="1200" cap="none" spc="0" smtClean="0">
              <a:ln w="31550" cmpd="sng">
                <a:prstDash val="solid"/>
              </a:ln>
              <a:effectLst/>
              <a:latin typeface="Interstate Mono - Lgt"/>
              <a:cs typeface="Interstate Mono - Lgt"/>
            </a:rPr>
            <a:t>Future</a:t>
          </a:r>
          <a:endParaRPr lang="en-US" sz="3200" b="0" i="0" kern="1200" dirty="0">
            <a:effectLst/>
            <a:latin typeface="Interstate Mono - Lgt"/>
            <a:cs typeface="Interstate Mono - Lgt"/>
          </a:endParaRPr>
        </a:p>
      </dsp:txBody>
      <dsp:txXfrm>
        <a:off x="6523916" y="2323356"/>
        <a:ext cx="2940791" cy="5153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885646-0EF1-9046-B76F-91AA1E441018}">
      <dsp:nvSpPr>
        <dsp:cNvPr id="0" name=""/>
        <dsp:cNvSpPr/>
      </dsp:nvSpPr>
      <dsp:spPr>
        <a:xfrm>
          <a:off x="3946481" y="2537023"/>
          <a:ext cx="3100806" cy="3100806"/>
        </a:xfrm>
        <a:prstGeom prst="gear9">
          <a:avLst/>
        </a:prstGeom>
        <a:solidFill>
          <a:schemeClr val="accent2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 cap="none" spc="0" dirty="0" smtClean="0">
              <a:ln w="50800"/>
              <a:effectLst/>
              <a:latin typeface="+mn-lt"/>
              <a:cs typeface="Interstate Mono"/>
            </a:rPr>
            <a:t>Innovation</a:t>
          </a:r>
          <a:endParaRPr lang="en-US" sz="1400" b="0" i="0" kern="1200" dirty="0">
            <a:latin typeface="+mn-lt"/>
            <a:cs typeface="Interstate Mono"/>
          </a:endParaRPr>
        </a:p>
      </dsp:txBody>
      <dsp:txXfrm>
        <a:off x="4569881" y="3263372"/>
        <a:ext cx="1854006" cy="1593878"/>
      </dsp:txXfrm>
    </dsp:sp>
    <dsp:sp modelId="{849640C4-FE56-DD44-9B02-AB46EF5292D0}">
      <dsp:nvSpPr>
        <dsp:cNvPr id="0" name=""/>
        <dsp:cNvSpPr/>
      </dsp:nvSpPr>
      <dsp:spPr>
        <a:xfrm>
          <a:off x="2142375" y="1804105"/>
          <a:ext cx="2255132" cy="2255132"/>
        </a:xfrm>
        <a:prstGeom prst="gear6">
          <a:avLst/>
        </a:prstGeom>
        <a:solidFill>
          <a:schemeClr val="accent6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 cap="none" spc="0" dirty="0" smtClean="0">
              <a:ln w="50800"/>
              <a:effectLst/>
              <a:latin typeface="+mn-lt"/>
              <a:cs typeface="Interstate Mono"/>
            </a:rPr>
            <a:t>Excellence</a:t>
          </a:r>
          <a:endParaRPr lang="en-US" sz="1400" b="0" i="0" kern="1200" dirty="0">
            <a:latin typeface="+mn-lt"/>
            <a:cs typeface="Interstate Mono"/>
          </a:endParaRPr>
        </a:p>
      </dsp:txBody>
      <dsp:txXfrm>
        <a:off x="2710111" y="2375273"/>
        <a:ext cx="1119660" cy="1112796"/>
      </dsp:txXfrm>
    </dsp:sp>
    <dsp:sp modelId="{4D83E747-31E0-9B42-AFD7-321A98E4594C}">
      <dsp:nvSpPr>
        <dsp:cNvPr id="0" name=""/>
        <dsp:cNvSpPr/>
      </dsp:nvSpPr>
      <dsp:spPr>
        <a:xfrm rot="20700000">
          <a:off x="3405479" y="248294"/>
          <a:ext cx="2209569" cy="2209569"/>
        </a:xfrm>
        <a:prstGeom prst="gear6">
          <a:avLst/>
        </a:prstGeom>
        <a:solidFill>
          <a:schemeClr val="accent1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 cap="none" spc="0" dirty="0" smtClean="0">
              <a:ln w="50800"/>
              <a:effectLst/>
              <a:latin typeface="+mn-lt"/>
              <a:cs typeface="Interstate Mono"/>
            </a:rPr>
            <a:t>Communication</a:t>
          </a:r>
          <a:endParaRPr lang="en-US" sz="1400" b="0" i="0" kern="1200" cap="none" spc="0" dirty="0">
            <a:ln w="18415" cmpd="sng">
              <a:prstDash val="solid"/>
            </a:ln>
            <a:effectLst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+mn-lt"/>
            <a:cs typeface="Interstate Mono"/>
          </a:endParaRPr>
        </a:p>
      </dsp:txBody>
      <dsp:txXfrm rot="-20700000">
        <a:off x="3890103" y="732917"/>
        <a:ext cx="1240322" cy="1240322"/>
      </dsp:txXfrm>
    </dsp:sp>
    <dsp:sp modelId="{8D118898-0C11-6B4F-8628-0C8975A66966}">
      <dsp:nvSpPr>
        <dsp:cNvPr id="0" name=""/>
        <dsp:cNvSpPr/>
      </dsp:nvSpPr>
      <dsp:spPr>
        <a:xfrm>
          <a:off x="3724215" y="2059866"/>
          <a:ext cx="3969032" cy="3969032"/>
        </a:xfrm>
        <a:prstGeom prst="circularArrow">
          <a:avLst>
            <a:gd name="adj1" fmla="val 4688"/>
            <a:gd name="adj2" fmla="val 299029"/>
            <a:gd name="adj3" fmla="val 2542469"/>
            <a:gd name="adj4" fmla="val 15805733"/>
            <a:gd name="adj5" fmla="val 5469"/>
          </a:avLst>
        </a:prstGeom>
        <a:gradFill rotWithShape="0">
          <a:gsLst>
            <a:gs pos="0">
              <a:schemeClr val="dk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7A83C44-4301-CB4D-BAA4-36A5ADBAF93D}">
      <dsp:nvSpPr>
        <dsp:cNvPr id="0" name=""/>
        <dsp:cNvSpPr/>
      </dsp:nvSpPr>
      <dsp:spPr>
        <a:xfrm>
          <a:off x="1742996" y="1298935"/>
          <a:ext cx="2883750" cy="2883750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dk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2C3A6FE-1E0F-DF43-B5B6-FE042938479C}">
      <dsp:nvSpPr>
        <dsp:cNvPr id="0" name=""/>
        <dsp:cNvSpPr/>
      </dsp:nvSpPr>
      <dsp:spPr>
        <a:xfrm>
          <a:off x="2894383" y="-241879"/>
          <a:ext cx="3109263" cy="3109263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gradFill rotWithShape="0">
          <a:gsLst>
            <a:gs pos="0">
              <a:schemeClr val="dk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BA6A13-97DD-4FAF-8D03-983B48EC510E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93335-B55E-493E-BBE3-04ED6191FC9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566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93335-B55E-493E-BBE3-04ED6191FC9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00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93335-B55E-493E-BBE3-04ED6191FC9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315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93335-B55E-493E-BBE3-04ED6191FC96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566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678966"/>
            <a:ext cx="9144000" cy="83099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831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460700" y="1825625"/>
            <a:ext cx="2893100" cy="215443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63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55202" y="365125"/>
            <a:ext cx="49859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18064" y="365125"/>
            <a:ext cx="2154436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1202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176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886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0090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5322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5869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542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305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262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353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697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5531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8039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4998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875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3731478"/>
            <a:ext cx="10515600" cy="83099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36933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059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21544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21544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979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4985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2135743"/>
            <a:ext cx="5157787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21544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135743"/>
            <a:ext cx="518318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21544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5295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222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008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171004"/>
            <a:ext cx="3932237" cy="88639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221599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24622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1131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171004"/>
            <a:ext cx="3932237" cy="88639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24622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83182C0-008C-46C2-97FB-F77C7D813912}" type="datetimeFigureOut">
              <a:rPr lang="en-US" smtClean="0"/>
              <a:t>11/29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28007-D27A-4FCE-9406-51912320C9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65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169634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28" imgW="383" imgH="385" progId="TCLayout.ActiveDocument.1">
                  <p:embed/>
                </p:oleObj>
              </mc:Choice>
              <mc:Fallback>
                <p:oleObj name="think-cell Slide" r:id="rId28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9999" y="365125"/>
            <a:ext cx="11052002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9999" y="1825625"/>
            <a:ext cx="11052002" cy="215443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28007-D27A-4FCE-9406-51912320C9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872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63550" indent="-2317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90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317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3.png"/><Relationship Id="rId5" Type="http://schemas.openxmlformats.org/officeDocument/2006/relationships/tags" Target="../tags/tag7.xml"/><Relationship Id="rId10" Type="http://schemas.openxmlformats.org/officeDocument/2006/relationships/slide" Target="slide5.xml"/><Relationship Id="rId4" Type="http://schemas.openxmlformats.org/officeDocument/2006/relationships/tags" Target="../tags/tag6.xml"/><Relationship Id="rId9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4.xml"/><Relationship Id="rId5" Type="http://schemas.openxmlformats.org/officeDocument/2006/relationships/tags" Target="../tags/tag11.xml"/><Relationship Id="rId10" Type="http://schemas.openxmlformats.org/officeDocument/2006/relationships/image" Target="../media/image3.png"/><Relationship Id="rId4" Type="http://schemas.openxmlformats.org/officeDocument/2006/relationships/tags" Target="../tags/tag10.xml"/><Relationship Id="rId9" Type="http://schemas.openxmlformats.org/officeDocument/2006/relationships/slide" Target="slide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4.xml"/><Relationship Id="rId5" Type="http://schemas.openxmlformats.org/officeDocument/2006/relationships/tags" Target="../tags/tag15.xml"/><Relationship Id="rId10" Type="http://schemas.openxmlformats.org/officeDocument/2006/relationships/image" Target="../media/image3.png"/><Relationship Id="rId4" Type="http://schemas.openxmlformats.org/officeDocument/2006/relationships/tags" Target="../tags/tag14.xml"/><Relationship Id="rId9" Type="http://schemas.openxmlformats.org/officeDocument/2006/relationships/slide" Target="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838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5" imgW="383" imgH="385" progId="TCLayout.ActiveDocument.1">
                  <p:embed/>
                </p:oleObj>
              </mc:Choice>
              <mc:Fallback>
                <p:oleObj name="think-cell Slide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20786" y="1703937"/>
            <a:ext cx="8331200" cy="914400"/>
          </a:xfrm>
        </p:spPr>
        <p:txBody>
          <a:bodyPr>
            <a:normAutofit fontScale="90000"/>
          </a:bodyPr>
          <a:lstStyle/>
          <a:p>
            <a:r>
              <a:rPr lang="en-US" sz="6600" dirty="0" smtClean="0"/>
              <a:t>How to Grow Your Business</a:t>
            </a:r>
            <a:endParaRPr lang="en-US" sz="6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20787" y="3969011"/>
            <a:ext cx="8331200" cy="1655762"/>
          </a:xfrm>
        </p:spPr>
        <p:txBody>
          <a:bodyPr>
            <a:normAutofit lnSpcReduction="10000"/>
          </a:bodyPr>
          <a:lstStyle/>
          <a:p>
            <a:r>
              <a:rPr lang="en-US" smtClean="0"/>
              <a:t>Presented by</a:t>
            </a:r>
          </a:p>
          <a:p>
            <a:endParaRPr lang="en-US" smtClean="0"/>
          </a:p>
          <a:p>
            <a:endParaRPr lang="en-US" smtClean="0"/>
          </a:p>
          <a:p>
            <a:r>
              <a:rPr lang="en-US" smtClean="0"/>
              <a:t>Web Developers &amp; Internet Guru</a:t>
            </a:r>
            <a:endParaRPr lang="en-US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7"/>
          <a:srcRect t="20860" b="14746"/>
          <a:stretch/>
        </p:blipFill>
        <p:spPr>
          <a:xfrm>
            <a:off x="5041125" y="4290784"/>
            <a:ext cx="4290523" cy="76925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3200" y="1957937"/>
            <a:ext cx="2133600" cy="445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259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87520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7" imgW="383" imgH="385" progId="TCLayout.ActiveDocument.1">
                  <p:embed/>
                </p:oleObj>
              </mc:Choice>
              <mc:Fallback>
                <p:oleObj name="think-cell Slide" r:id="rId7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sp>
        <p:nvSpPr>
          <p:cNvPr id="8" name="Text Placeholder 3">
            <a:hlinkClick r:id="rId9" action="ppaction://hlinksldjump"/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5664199" y="1957388"/>
            <a:ext cx="2914650" cy="609600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364D6E"/>
                </a:solidFill>
              </a14:hiddenLine>
            </a:ext>
          </a:extLst>
        </p:spPr>
        <p:txBody>
          <a:bodyPr wrap="square" lIns="122238" tIns="122238" rIns="0" bIns="122238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355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190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ompany overview</a:t>
            </a:r>
            <a:endParaRPr lang="en-US" dirty="0"/>
          </a:p>
        </p:txBody>
      </p:sp>
      <p:sp>
        <p:nvSpPr>
          <p:cNvPr id="3" name="Text Placeholder 3">
            <a:hlinkClick r:id="rId10" action="ppaction://hlinksldjump"/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664199" y="2566988"/>
            <a:ext cx="2914650" cy="608013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364D6E"/>
                </a:solidFill>
              </a14:hiddenLine>
            </a:ext>
          </a:extLst>
        </p:spPr>
        <p:txBody>
          <a:bodyPr wrap="square" lIns="122238" tIns="120650" rIns="0" bIns="122238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355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190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e path forward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3200" y="1957937"/>
            <a:ext cx="2133600" cy="445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04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665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7" imgW="383" imgH="385" progId="TCLayout.ActiveDocument.1">
                  <p:embed/>
                </p:oleObj>
              </mc:Choice>
              <mc:Fallback>
                <p:oleObj name="think-cell Slide" r:id="rId7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sp>
        <p:nvSpPr>
          <p:cNvPr id="8" name="Text Placeholder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5664199" y="1957388"/>
            <a:ext cx="2914650" cy="609600"/>
          </a:xfrm>
          <a:prstGeom prst="rect">
            <a:avLst/>
          </a:prstGeom>
          <a:solidFill>
            <a:srgbClr val="DFE5EF"/>
          </a:solidFill>
          <a:ln w="19050">
            <a:solidFill>
              <a:srgbClr val="364D6E"/>
            </a:solidFill>
          </a:ln>
        </p:spPr>
        <p:txBody>
          <a:bodyPr wrap="square" lIns="122238" tIns="122238" rIns="0" bIns="122238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355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190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b="1" smtClean="0"/>
              <a:t>Company overview</a:t>
            </a:r>
            <a:endParaRPr lang="en-US" b="1" dirty="0"/>
          </a:p>
        </p:txBody>
      </p:sp>
      <p:sp>
        <p:nvSpPr>
          <p:cNvPr id="3" name="Text Placeholder 3">
            <a:hlinkClick r:id="rId9" action="ppaction://hlinksldjump"/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664199" y="2566988"/>
            <a:ext cx="2914650" cy="608013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364D6E"/>
                </a:solidFill>
              </a14:hiddenLine>
            </a:ext>
          </a:extLst>
        </p:spPr>
        <p:txBody>
          <a:bodyPr wrap="square" lIns="122238" tIns="120650" rIns="0" bIns="122238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355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190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The path forward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3200" y="1957937"/>
            <a:ext cx="2133600" cy="445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94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Numero Un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9999" y="1274082"/>
            <a:ext cx="10141544" cy="4662815"/>
          </a:xfrm>
        </p:spPr>
        <p:txBody>
          <a:bodyPr/>
          <a:lstStyle/>
          <a:p>
            <a:pPr lvl="1"/>
            <a:r>
              <a:rPr lang="en-US" sz="3200" smtClean="0"/>
              <a:t>We are the world’s number 1 web developer with 6,000 domains registered under Zubroo!</a:t>
            </a:r>
          </a:p>
          <a:p>
            <a:pPr lvl="1"/>
            <a:r>
              <a:rPr lang="en-US" sz="3200" smtClean="0"/>
              <a:t>Zubroo! websites get more hits and have more registered users than all the websites designed by our closest 3 competitors, taken together</a:t>
            </a:r>
          </a:p>
          <a:p>
            <a:pPr lvl="1"/>
            <a:r>
              <a:rPr lang="en-US" sz="3200" smtClean="0"/>
              <a:t>We NEVER repeat our designs. Each website is custom designed to suit our client’s branding</a:t>
            </a:r>
          </a:p>
          <a:p>
            <a:pPr lvl="1"/>
            <a:r>
              <a:rPr lang="en-US" sz="3200" smtClean="0"/>
              <a:t>Zubroo! websites load across all platforms in very less time, making it a seamless experience for the user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0260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288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7" imgW="383" imgH="385" progId="TCLayout.ActiveDocument.1">
                  <p:embed/>
                </p:oleObj>
              </mc:Choice>
              <mc:Fallback>
                <p:oleObj name="think-cell Slide" r:id="rId7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sp>
        <p:nvSpPr>
          <p:cNvPr id="25" name="Text Placeholder 3">
            <a:hlinkClick r:id="rId9" action="ppaction://hlinksldjump"/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5664199" y="1957388"/>
            <a:ext cx="2914650" cy="609600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364D6E"/>
                </a:solidFill>
              </a14:hiddenLine>
            </a:ext>
          </a:extLst>
        </p:spPr>
        <p:txBody>
          <a:bodyPr wrap="square" lIns="122238" tIns="122238" rIns="0" bIns="122238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355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190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ompany overview</a:t>
            </a:r>
            <a:endParaRPr lang="en-US" dirty="0"/>
          </a:p>
        </p:txBody>
      </p:sp>
      <p:sp>
        <p:nvSpPr>
          <p:cNvPr id="3" name="Text Placeholder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664199" y="2566988"/>
            <a:ext cx="2914650" cy="608013"/>
          </a:xfrm>
          <a:prstGeom prst="rect">
            <a:avLst/>
          </a:prstGeom>
          <a:solidFill>
            <a:srgbClr val="DFE5EF"/>
          </a:solidFill>
          <a:ln w="19050">
            <a:solidFill>
              <a:srgbClr val="364D6E"/>
            </a:solidFill>
          </a:ln>
        </p:spPr>
        <p:txBody>
          <a:bodyPr wrap="square" lIns="122238" tIns="120650" rIns="0" bIns="122238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355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190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b="1" smtClean="0"/>
              <a:t>The path forward</a:t>
            </a:r>
            <a:endParaRPr lang="en-US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3200" y="1957937"/>
            <a:ext cx="2133600" cy="445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9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ur path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343037500"/>
              </p:ext>
            </p:extLst>
          </p:nvPr>
        </p:nvGraphicFramePr>
        <p:xfrm>
          <a:off x="564684" y="1181679"/>
          <a:ext cx="11178137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5780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perational goals</a:t>
            </a:r>
            <a:endParaRPr lang="en-US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033965503"/>
              </p:ext>
            </p:extLst>
          </p:nvPr>
        </p:nvGraphicFramePr>
        <p:xfrm>
          <a:off x="1377957" y="901701"/>
          <a:ext cx="8456746" cy="56378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1283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657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6" imgW="383" imgH="385" progId="TCLayout.ActiveDocument.1">
                  <p:embed/>
                </p:oleObj>
              </mc:Choice>
              <mc:Fallback>
                <p:oleObj name="think-cell Slide" r:id="rId6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sp>
        <p:nvSpPr>
          <p:cNvPr id="7" name="Text Placeholder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5664199" y="1957388"/>
            <a:ext cx="2914650" cy="609600"/>
          </a:xfrm>
          <a:prstGeom prst="rect">
            <a:avLst/>
          </a:prstGeom>
          <a:solidFill>
            <a:srgbClr val="DFE5EF"/>
          </a:solidFill>
          <a:ln w="19050">
            <a:solidFill>
              <a:srgbClr val="364D6E"/>
            </a:solidFill>
          </a:ln>
        </p:spPr>
        <p:txBody>
          <a:bodyPr wrap="square" lIns="122238" tIns="122238" rIns="0" bIns="122238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355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190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317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US" b="1" smtClean="0"/>
              <a:t>Backup</a:t>
            </a:r>
            <a:endParaRPr lang="en-US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3200" y="1957937"/>
            <a:ext cx="2133600" cy="445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5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andr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156884"/>
            <a:ext cx="3501788" cy="5232202"/>
          </a:xfrm>
        </p:spPr>
        <p:txBody>
          <a:bodyPr/>
          <a:lstStyle/>
          <a:p>
            <a:pPr lvl="1">
              <a:spcBef>
                <a:spcPts val="1800"/>
              </a:spcBef>
            </a:pPr>
            <a:r>
              <a:rPr lang="en-US" sz="2800" smtClean="0"/>
              <a:t>Sandra is a florist, managing her family flower shop at a prime location in New York</a:t>
            </a:r>
          </a:p>
          <a:p>
            <a:pPr lvl="1">
              <a:spcBef>
                <a:spcPts val="1800"/>
              </a:spcBef>
            </a:pPr>
            <a:r>
              <a:rPr lang="en-US" sz="2800" smtClean="0"/>
              <a:t>Most of her business came through</a:t>
            </a:r>
          </a:p>
          <a:p>
            <a:pPr lvl="2">
              <a:spcBef>
                <a:spcPts val="1800"/>
              </a:spcBef>
            </a:pPr>
            <a:r>
              <a:rPr lang="en-US" sz="2800" smtClean="0"/>
              <a:t>Regular customers</a:t>
            </a:r>
          </a:p>
          <a:p>
            <a:pPr lvl="2">
              <a:spcBef>
                <a:spcPts val="1800"/>
              </a:spcBef>
            </a:pPr>
            <a:r>
              <a:rPr lang="en-US" sz="2800" smtClean="0"/>
              <a:t>Referrals</a:t>
            </a:r>
          </a:p>
          <a:p>
            <a:pPr lvl="1">
              <a:spcBef>
                <a:spcPts val="1800"/>
              </a:spcBef>
            </a:pPr>
            <a:r>
              <a:rPr lang="en-US" sz="2800" smtClean="0"/>
              <a:t>Her business was doing okay</a:t>
            </a:r>
            <a:endParaRPr lang="en-US" sz="2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248400" y="1156884"/>
            <a:ext cx="55753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800"/>
              </a:spcBef>
            </a:pPr>
            <a:r>
              <a:rPr lang="en-US" smtClean="0"/>
              <a:t>Zubroo! created an online flower shop for Sandra</a:t>
            </a:r>
          </a:p>
          <a:p>
            <a:pPr>
              <a:spcBef>
                <a:spcPts val="1800"/>
              </a:spcBef>
            </a:pPr>
            <a:r>
              <a:rPr lang="en-US" smtClean="0"/>
              <a:t>It was a special experience for her clients, sitting at their home and ordering beautiful flowers</a:t>
            </a:r>
          </a:p>
          <a:p>
            <a:pPr>
              <a:spcBef>
                <a:spcPts val="1800"/>
              </a:spcBef>
            </a:pPr>
            <a:r>
              <a:rPr lang="en-US" smtClean="0"/>
              <a:t>Zubroo! added a dating “plugin” to her website – this immediately increased sales by 5%</a:t>
            </a:r>
          </a:p>
          <a:p>
            <a:pPr>
              <a:spcBef>
                <a:spcPts val="1800"/>
              </a:spcBef>
            </a:pPr>
            <a:r>
              <a:rPr lang="en-US" smtClean="0"/>
              <a:t>Sandra now gets 50% of her total revenue through online order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601" y="2548629"/>
            <a:ext cx="2732102" cy="199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610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AQ2TUx30K1huULb6vL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hVC232ckSQwaCRckLV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1SJBJ9CU6K5eqe4ASb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JOZ4J50.L11t7niJ5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hVC232ckSQwaCRckLV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1SJBJ9CU6K5eqe4ASb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ZpcVwiKEWllhGQ0ZLu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1SJBJ9CU6K5eqe4ASb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AQ2TUx30K1huULb6vL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hVC232ckSQwaCRckLV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1SJBJ9CU6K5eqe4ASb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1</Words>
  <Application>Microsoft Office PowerPoint</Application>
  <PresentationFormat>Custom</PresentationFormat>
  <Paragraphs>42</Paragraphs>
  <Slides>9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How to Grow Your Business</vt:lpstr>
      <vt:lpstr>Agenda</vt:lpstr>
      <vt:lpstr>Agenda</vt:lpstr>
      <vt:lpstr>Numero Uno</vt:lpstr>
      <vt:lpstr>Agenda</vt:lpstr>
      <vt:lpstr>Our path</vt:lpstr>
      <vt:lpstr>Operational goals</vt:lpstr>
      <vt:lpstr>Agenda</vt:lpstr>
      <vt:lpstr>Sandr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46:43Z</dcterms:created>
  <dcterms:modified xsi:type="dcterms:W3CDTF">2013-11-29T16:47:00Z</dcterms:modified>
</cp:coreProperties>
</file>